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5" r:id="rId2"/>
    <p:sldMasterId id="2147483669" r:id="rId3"/>
  </p:sldMasterIdLst>
  <p:sldIdLst>
    <p:sldId id="1922" r:id="rId4"/>
  </p:sldIdLst>
  <p:sldSz cx="11949113" cy="6721475"/>
  <p:notesSz cx="6858000" cy="9144000"/>
  <p:custDataLst>
    <p:tags r:id="rId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198" autoAdjust="0"/>
    <p:restoredTop sz="94652"/>
  </p:normalViewPr>
  <p:slideViewPr>
    <p:cSldViewPr snapToGrid="0">
      <p:cViewPr varScale="1">
        <p:scale>
          <a:sx n="126" d="100"/>
          <a:sy n="126" d="100"/>
        </p:scale>
        <p:origin x="1008" y="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Master" Target="slideMasters/slideMaster3.xml"/><Relationship Id="rId4" Type="http://schemas.openxmlformats.org/officeDocument/2006/relationships/slide" Target="slides/slide1.xml"/><Relationship Id="rId5" Type="http://schemas.openxmlformats.org/officeDocument/2006/relationships/tags" Target="tags/tag1.xml"/><Relationship Id="rId6" Type="http://schemas.openxmlformats.org/officeDocument/2006/relationships/presProps" Target="presProps.xml"/><Relationship Id="rId7" Type="http://schemas.openxmlformats.org/officeDocument/2006/relationships/viewProps" Target="viewProps.xml"/><Relationship Id="rId8" Type="http://schemas.openxmlformats.org/officeDocument/2006/relationships/theme" Target="theme/theme1.xml"/><Relationship Id="rId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image" Target="../media/image3.jpeg"/><Relationship Id="rId5" Type="http://schemas.openxmlformats.org/officeDocument/2006/relationships/oleObject" Target="../embeddings/oleObject2.bin"/><Relationship Id="rId6" Type="http://schemas.openxmlformats.org/officeDocument/2006/relationships/image" Target="../media/image2.emf"/><Relationship Id="rId7" Type="http://schemas.openxmlformats.org/officeDocument/2006/relationships/image" Target="../media/image4.png"/><Relationship Id="rId1" Type="http://schemas.openxmlformats.org/officeDocument/2006/relationships/vmlDrawing" Target="../drawings/vmlDrawing2.vml"/><Relationship Id="rId2" Type="http://schemas.openxmlformats.org/officeDocument/2006/relationships/tags" Target="../tags/tag19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tags" Target="../tags/tag77.xml"/><Relationship Id="rId2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tags" Target="../tags/tag20.xml"/><Relationship Id="rId2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5.emf"/><Relationship Id="rId1" Type="http://schemas.openxmlformats.org/officeDocument/2006/relationships/vmlDrawing" Target="../drawings/vmlDrawing3.vml"/><Relationship Id="rId2" Type="http://schemas.openxmlformats.org/officeDocument/2006/relationships/tags" Target="../tags/tag2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image" Target="../media/image6.jpg"/><Relationship Id="rId5" Type="http://schemas.openxmlformats.org/officeDocument/2006/relationships/oleObject" Target="../embeddings/oleObject5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5.vml"/><Relationship Id="rId2" Type="http://schemas.openxmlformats.org/officeDocument/2006/relationships/tags" Target="../tags/tag40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tags" Target="../tags/tag41.xml"/><Relationship Id="rId2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tags" Target="../tags/tag42.xml"/><Relationship Id="rId2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image" Target="../media/image7.jpg"/><Relationship Id="rId5" Type="http://schemas.openxmlformats.org/officeDocument/2006/relationships/oleObject" Target="../embeddings/oleObject7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7.vml"/><Relationship Id="rId2" Type="http://schemas.openxmlformats.org/officeDocument/2006/relationships/tags" Target="../tags/tag7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tags" Target="../tags/tag76.xml"/><Relationship Id="rId2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07558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1/25/2019 3:26 PM Central Europea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>
                <a:solidFill>
                  <a:schemeClr val="bg1"/>
                </a:solidFill>
                <a:latin typeface="+mn-lt"/>
              </a:rPr>
              <a:t>Printed 22/11/2018 16:30 GMT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1BA873F-A401-4E26-9289-BAC8FF449CB6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2987216" y="-1499"/>
            <a:ext cx="8961897" cy="6724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17361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7048449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75247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692691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5D60FA1-4799-4557-8B15-79E231CA9E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42381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36108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/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="" xmlns:a16="http://schemas.microsoft.com/office/drawing/2014/main" id="{E2C70A52-20E0-44EE-80F1-358CF5856D90}"/>
              </a:ext>
            </a:extLst>
          </p:cNvPr>
          <p:cNvSpPr/>
          <p:nvPr/>
        </p:nvSpPr>
        <p:spPr>
          <a:xfrm flipV="1">
            <a:off x="10242430" y="-13134"/>
            <a:ext cx="1701610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67100" y="-495300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49"/>
            <a:ext cx="11949113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779713" y="3392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105867" y="6377191"/>
            <a:ext cx="384324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35808" y="192024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781424" y="6254080"/>
            <a:ext cx="5120516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ags" Target="../tags/tag4.xml"/><Relationship Id="rId20" Type="http://schemas.openxmlformats.org/officeDocument/2006/relationships/tags" Target="../tags/tag15.xml"/><Relationship Id="rId21" Type="http://schemas.openxmlformats.org/officeDocument/2006/relationships/tags" Target="../tags/tag16.xml"/><Relationship Id="rId22" Type="http://schemas.openxmlformats.org/officeDocument/2006/relationships/tags" Target="../tags/tag17.xml"/><Relationship Id="rId23" Type="http://schemas.openxmlformats.org/officeDocument/2006/relationships/tags" Target="../tags/tag18.xml"/><Relationship Id="rId24" Type="http://schemas.openxmlformats.org/officeDocument/2006/relationships/oleObject" Target="../embeddings/oleObject1.bin"/><Relationship Id="rId25" Type="http://schemas.openxmlformats.org/officeDocument/2006/relationships/image" Target="../media/image1.emf"/><Relationship Id="rId10" Type="http://schemas.openxmlformats.org/officeDocument/2006/relationships/tags" Target="../tags/tag5.xml"/><Relationship Id="rId11" Type="http://schemas.openxmlformats.org/officeDocument/2006/relationships/tags" Target="../tags/tag6.xml"/><Relationship Id="rId12" Type="http://schemas.openxmlformats.org/officeDocument/2006/relationships/tags" Target="../tags/tag7.xml"/><Relationship Id="rId13" Type="http://schemas.openxmlformats.org/officeDocument/2006/relationships/tags" Target="../tags/tag8.xml"/><Relationship Id="rId14" Type="http://schemas.openxmlformats.org/officeDocument/2006/relationships/tags" Target="../tags/tag9.xml"/><Relationship Id="rId15" Type="http://schemas.openxmlformats.org/officeDocument/2006/relationships/tags" Target="../tags/tag10.xml"/><Relationship Id="rId16" Type="http://schemas.openxmlformats.org/officeDocument/2006/relationships/tags" Target="../tags/tag11.xml"/><Relationship Id="rId17" Type="http://schemas.openxmlformats.org/officeDocument/2006/relationships/tags" Target="../tags/tag12.xml"/><Relationship Id="rId18" Type="http://schemas.openxmlformats.org/officeDocument/2006/relationships/tags" Target="../tags/tag13.xml"/><Relationship Id="rId19" Type="http://schemas.openxmlformats.org/officeDocument/2006/relationships/tags" Target="../tags/tag14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theme" Target="../theme/theme1.xml"/><Relationship Id="rId6" Type="http://schemas.openxmlformats.org/officeDocument/2006/relationships/vmlDrawing" Target="../drawings/vmlDrawing1.vml"/><Relationship Id="rId7" Type="http://schemas.openxmlformats.org/officeDocument/2006/relationships/tags" Target="../tags/tag2.xml"/><Relationship Id="rId8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tags" Target="../tags/tag26.xml"/><Relationship Id="rId20" Type="http://schemas.openxmlformats.org/officeDocument/2006/relationships/tags" Target="../tags/tag37.xml"/><Relationship Id="rId21" Type="http://schemas.openxmlformats.org/officeDocument/2006/relationships/tags" Target="../tags/tag38.xml"/><Relationship Id="rId22" Type="http://schemas.openxmlformats.org/officeDocument/2006/relationships/tags" Target="../tags/tag39.xml"/><Relationship Id="rId23" Type="http://schemas.openxmlformats.org/officeDocument/2006/relationships/oleObject" Target="../embeddings/oleObject4.bin"/><Relationship Id="rId24" Type="http://schemas.openxmlformats.org/officeDocument/2006/relationships/image" Target="../media/image1.emf"/><Relationship Id="rId10" Type="http://schemas.openxmlformats.org/officeDocument/2006/relationships/tags" Target="../tags/tag27.xml"/><Relationship Id="rId11" Type="http://schemas.openxmlformats.org/officeDocument/2006/relationships/tags" Target="../tags/tag28.xml"/><Relationship Id="rId12" Type="http://schemas.openxmlformats.org/officeDocument/2006/relationships/tags" Target="../tags/tag29.xml"/><Relationship Id="rId13" Type="http://schemas.openxmlformats.org/officeDocument/2006/relationships/tags" Target="../tags/tag30.xml"/><Relationship Id="rId14" Type="http://schemas.openxmlformats.org/officeDocument/2006/relationships/tags" Target="../tags/tag31.xml"/><Relationship Id="rId15" Type="http://schemas.openxmlformats.org/officeDocument/2006/relationships/tags" Target="../tags/tag32.xml"/><Relationship Id="rId16" Type="http://schemas.openxmlformats.org/officeDocument/2006/relationships/tags" Target="../tags/tag33.xml"/><Relationship Id="rId17" Type="http://schemas.openxmlformats.org/officeDocument/2006/relationships/tags" Target="../tags/tag34.xml"/><Relationship Id="rId18" Type="http://schemas.openxmlformats.org/officeDocument/2006/relationships/tags" Target="../tags/tag35.xml"/><Relationship Id="rId19" Type="http://schemas.openxmlformats.org/officeDocument/2006/relationships/tags" Target="../tags/tag36.xml"/><Relationship Id="rId1" Type="http://schemas.openxmlformats.org/officeDocument/2006/relationships/slideLayout" Target="../slideLayouts/slideLayout5.xml"/><Relationship Id="rId2" Type="http://schemas.openxmlformats.org/officeDocument/2006/relationships/slideLayout" Target="../slideLayouts/slideLayout6.xml"/><Relationship Id="rId3" Type="http://schemas.openxmlformats.org/officeDocument/2006/relationships/slideLayout" Target="../slideLayouts/slideLayout7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4.vml"/><Relationship Id="rId6" Type="http://schemas.openxmlformats.org/officeDocument/2006/relationships/tags" Target="../tags/tag23.xml"/><Relationship Id="rId7" Type="http://schemas.openxmlformats.org/officeDocument/2006/relationships/tags" Target="../tags/tag24.xml"/><Relationship Id="rId8" Type="http://schemas.openxmlformats.org/officeDocument/2006/relationships/tags" Target="../tags/tag25.xml"/></Relationships>
</file>

<file path=ppt/slideMasters/_rels/slideMaster3.xml.rels><?xml version="1.0" encoding="UTF-8" standalone="yes"?>
<Relationships xmlns="http://schemas.openxmlformats.org/package/2006/relationships"><Relationship Id="rId20" Type="http://schemas.openxmlformats.org/officeDocument/2006/relationships/tags" Target="../tags/tag57.xml"/><Relationship Id="rId21" Type="http://schemas.openxmlformats.org/officeDocument/2006/relationships/tags" Target="../tags/tag58.xml"/><Relationship Id="rId22" Type="http://schemas.openxmlformats.org/officeDocument/2006/relationships/tags" Target="../tags/tag59.xml"/><Relationship Id="rId23" Type="http://schemas.openxmlformats.org/officeDocument/2006/relationships/tags" Target="../tags/tag60.xml"/><Relationship Id="rId24" Type="http://schemas.openxmlformats.org/officeDocument/2006/relationships/tags" Target="../tags/tag61.xml"/><Relationship Id="rId25" Type="http://schemas.openxmlformats.org/officeDocument/2006/relationships/tags" Target="../tags/tag62.xml"/><Relationship Id="rId26" Type="http://schemas.openxmlformats.org/officeDocument/2006/relationships/tags" Target="../tags/tag63.xml"/><Relationship Id="rId27" Type="http://schemas.openxmlformats.org/officeDocument/2006/relationships/tags" Target="../tags/tag64.xml"/><Relationship Id="rId28" Type="http://schemas.openxmlformats.org/officeDocument/2006/relationships/tags" Target="../tags/tag65.xml"/><Relationship Id="rId29" Type="http://schemas.openxmlformats.org/officeDocument/2006/relationships/tags" Target="../tags/tag66.xml"/><Relationship Id="rId1" Type="http://schemas.openxmlformats.org/officeDocument/2006/relationships/slideLayout" Target="../slideLayouts/slideLayout8.xml"/><Relationship Id="rId2" Type="http://schemas.openxmlformats.org/officeDocument/2006/relationships/slideLayout" Target="../slideLayouts/slideLayout9.xml"/><Relationship Id="rId3" Type="http://schemas.openxmlformats.org/officeDocument/2006/relationships/slideLayout" Target="../slideLayouts/slideLayout10.xml"/><Relationship Id="rId4" Type="http://schemas.openxmlformats.org/officeDocument/2006/relationships/theme" Target="../theme/theme3.xml"/><Relationship Id="rId5" Type="http://schemas.openxmlformats.org/officeDocument/2006/relationships/vmlDrawing" Target="../drawings/vmlDrawing6.vml"/><Relationship Id="rId30" Type="http://schemas.openxmlformats.org/officeDocument/2006/relationships/tags" Target="../tags/tag67.xml"/><Relationship Id="rId31" Type="http://schemas.openxmlformats.org/officeDocument/2006/relationships/tags" Target="../tags/tag68.xml"/><Relationship Id="rId32" Type="http://schemas.openxmlformats.org/officeDocument/2006/relationships/tags" Target="../tags/tag69.xml"/><Relationship Id="rId9" Type="http://schemas.openxmlformats.org/officeDocument/2006/relationships/tags" Target="../tags/tag46.xml"/><Relationship Id="rId6" Type="http://schemas.openxmlformats.org/officeDocument/2006/relationships/tags" Target="../tags/tag43.xml"/><Relationship Id="rId7" Type="http://schemas.openxmlformats.org/officeDocument/2006/relationships/tags" Target="../tags/tag44.xml"/><Relationship Id="rId8" Type="http://schemas.openxmlformats.org/officeDocument/2006/relationships/tags" Target="../tags/tag45.xml"/><Relationship Id="rId33" Type="http://schemas.openxmlformats.org/officeDocument/2006/relationships/tags" Target="../tags/tag70.xml"/><Relationship Id="rId34" Type="http://schemas.openxmlformats.org/officeDocument/2006/relationships/tags" Target="../tags/tag71.xml"/><Relationship Id="rId35" Type="http://schemas.openxmlformats.org/officeDocument/2006/relationships/tags" Target="../tags/tag72.xml"/><Relationship Id="rId36" Type="http://schemas.openxmlformats.org/officeDocument/2006/relationships/tags" Target="../tags/tag73.xml"/><Relationship Id="rId10" Type="http://schemas.openxmlformats.org/officeDocument/2006/relationships/tags" Target="../tags/tag47.xml"/><Relationship Id="rId11" Type="http://schemas.openxmlformats.org/officeDocument/2006/relationships/tags" Target="../tags/tag48.xml"/><Relationship Id="rId12" Type="http://schemas.openxmlformats.org/officeDocument/2006/relationships/tags" Target="../tags/tag49.xml"/><Relationship Id="rId13" Type="http://schemas.openxmlformats.org/officeDocument/2006/relationships/tags" Target="../tags/tag50.xml"/><Relationship Id="rId14" Type="http://schemas.openxmlformats.org/officeDocument/2006/relationships/tags" Target="../tags/tag51.xml"/><Relationship Id="rId15" Type="http://schemas.openxmlformats.org/officeDocument/2006/relationships/tags" Target="../tags/tag52.xml"/><Relationship Id="rId16" Type="http://schemas.openxmlformats.org/officeDocument/2006/relationships/tags" Target="../tags/tag53.xml"/><Relationship Id="rId17" Type="http://schemas.openxmlformats.org/officeDocument/2006/relationships/tags" Target="../tags/tag54.xml"/><Relationship Id="rId18" Type="http://schemas.openxmlformats.org/officeDocument/2006/relationships/tags" Target="../tags/tag55.xml"/><Relationship Id="rId19" Type="http://schemas.openxmlformats.org/officeDocument/2006/relationships/tags" Target="../tags/tag56.xml"/><Relationship Id="rId37" Type="http://schemas.openxmlformats.org/officeDocument/2006/relationships/tags" Target="../tags/tag74.xml"/><Relationship Id="rId38" Type="http://schemas.openxmlformats.org/officeDocument/2006/relationships/oleObject" Target="../embeddings/oleObject6.bin"/><Relationship Id="rId3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930946987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711432" y="1940592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/25/2019 3:26 PM Central European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062490" y="4114418"/>
            <a:ext cx="158697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2/11/2018 16:30 GMT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4254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539187680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3831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</p:sldLayoutIdLst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6839" y="1951380"/>
            <a:ext cx="3602114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0838127" y="431800"/>
            <a:ext cx="763755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530319" y="431800"/>
            <a:ext cx="1071563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771452" y="403225"/>
            <a:ext cx="830430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387978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4" Type="http://schemas.openxmlformats.org/officeDocument/2006/relationships/tags" Target="../tags/tag80.xml"/><Relationship Id="rId5" Type="http://schemas.openxmlformats.org/officeDocument/2006/relationships/tags" Target="../tags/tag81.xml"/><Relationship Id="rId6" Type="http://schemas.openxmlformats.org/officeDocument/2006/relationships/tags" Target="../tags/tag82.xml"/><Relationship Id="rId7" Type="http://schemas.openxmlformats.org/officeDocument/2006/relationships/tags" Target="../tags/tag83.xml"/><Relationship Id="rId8" Type="http://schemas.openxmlformats.org/officeDocument/2006/relationships/tags" Target="../tags/tag84.xml"/><Relationship Id="rId9" Type="http://schemas.openxmlformats.org/officeDocument/2006/relationships/slideLayout" Target="../slideLayouts/slideLayout6.xml"/><Relationship Id="rId10" Type="http://schemas.openxmlformats.org/officeDocument/2006/relationships/oleObject" Target="../embeddings/oleObject8.bin"/><Relationship Id="rId11" Type="http://schemas.openxmlformats.org/officeDocument/2006/relationships/image" Target="../media/image8.emf"/><Relationship Id="rId1" Type="http://schemas.openxmlformats.org/officeDocument/2006/relationships/vmlDrawing" Target="../drawings/vmlDrawing8.vml"/><Relationship Id="rId2" Type="http://schemas.openxmlformats.org/officeDocument/2006/relationships/tags" Target="../tags/tag7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4164508"/>
              </p:ext>
            </p:extLst>
          </p:nvPr>
        </p:nvGraphicFramePr>
        <p:xfrm>
          <a:off x="1677" y="1638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name="think-cell Slide" r:id="rId10" imgW="493" imgH="493" progId="TCLayout.ActiveDocument.1">
                  <p:embed/>
                </p:oleObj>
              </mc:Choice>
              <mc:Fallback>
                <p:oleObj name="think-cell Slide" r:id="rId10" imgW="493" imgH="493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77" y="1638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69176AB4-B556-4897-9C7A-929683148FB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i="1" dirty="0"/>
              <a:t>Impact example: </a:t>
            </a:r>
            <a:r>
              <a:rPr lang="en-US" dirty="0"/>
              <a:t>Personalization for a pure play specialty retailer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="" xmlns:a16="http://schemas.microsoft.com/office/drawing/2014/main" id="{C51BCA59-2D2E-4945-A22F-37EA2CF52D80}"/>
              </a:ext>
            </a:extLst>
          </p:cNvPr>
          <p:cNvGrpSpPr/>
          <p:nvPr/>
        </p:nvGrpSpPr>
        <p:grpSpPr>
          <a:xfrm>
            <a:off x="158758" y="1470813"/>
            <a:ext cx="2772249" cy="2137718"/>
            <a:chOff x="681954" y="2590472"/>
            <a:chExt cx="2772249" cy="2137718"/>
          </a:xfrm>
        </p:grpSpPr>
        <p:sp>
          <p:nvSpPr>
            <p:cNvPr id="23" name="Oval 22">
              <a:extLst>
                <a:ext uri="{FF2B5EF4-FFF2-40B4-BE49-F238E27FC236}">
                  <a16:creationId xmlns="" xmlns:a16="http://schemas.microsoft.com/office/drawing/2014/main" id="{AACB940A-6730-48AE-9FEB-C373C997F212}"/>
                </a:ext>
              </a:extLst>
            </p:cNvPr>
            <p:cNvSpPr/>
            <p:nvPr/>
          </p:nvSpPr>
          <p:spPr bwMode="gray">
            <a:xfrm>
              <a:off x="1018319" y="2590472"/>
              <a:ext cx="2137718" cy="2137718"/>
            </a:xfrm>
            <a:prstGeom prst="ellipse">
              <a:avLst/>
            </a:prstGeom>
            <a:solidFill>
              <a:schemeClr val="accent2">
                <a:alpha val="8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buClr>
                  <a:srgbClr val="FFFFFF"/>
                </a:buClr>
              </a:pPr>
              <a:endParaRPr lang="en-US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57" name="Oval 56">
              <a:extLst>
                <a:ext uri="{FF2B5EF4-FFF2-40B4-BE49-F238E27FC236}">
                  <a16:creationId xmlns="" xmlns:a16="http://schemas.microsoft.com/office/drawing/2014/main" id="{85D40D50-0C6F-49C2-BE51-2F9FEB6D259D}"/>
                </a:ext>
              </a:extLst>
            </p:cNvPr>
            <p:cNvSpPr/>
            <p:nvPr/>
          </p:nvSpPr>
          <p:spPr>
            <a:xfrm>
              <a:off x="681954" y="2743975"/>
              <a:ext cx="2772249" cy="1830711"/>
            </a:xfrm>
            <a:prstGeom prst="ellipse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sz="4800" dirty="0">
                  <a:solidFill>
                    <a:schemeClr val="bg1"/>
                  </a:solidFill>
                  <a:latin typeface="+mj-lt"/>
                </a:rPr>
                <a:t>22% </a:t>
              </a:r>
            </a:p>
            <a:p>
              <a:pPr algn="ctr"/>
              <a:r>
                <a:rPr lang="en-US" sz="1830" dirty="0">
                  <a:solidFill>
                    <a:schemeClr val="bg1"/>
                  </a:solidFill>
                </a:rPr>
                <a:t>CRM sales lift in 16 weeks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="" xmlns:a16="http://schemas.microsoft.com/office/drawing/2014/main" id="{ECAEA980-4EB6-43F2-95FB-8F981B9CF995}"/>
              </a:ext>
            </a:extLst>
          </p:cNvPr>
          <p:cNvGrpSpPr/>
          <p:nvPr/>
        </p:nvGrpSpPr>
        <p:grpSpPr>
          <a:xfrm>
            <a:off x="158758" y="3797749"/>
            <a:ext cx="2772249" cy="2226716"/>
            <a:chOff x="681954" y="2545974"/>
            <a:chExt cx="2772249" cy="2226716"/>
          </a:xfrm>
        </p:grpSpPr>
        <p:sp>
          <p:nvSpPr>
            <p:cNvPr id="30" name="Oval 29">
              <a:extLst>
                <a:ext uri="{FF2B5EF4-FFF2-40B4-BE49-F238E27FC236}">
                  <a16:creationId xmlns="" xmlns:a16="http://schemas.microsoft.com/office/drawing/2014/main" id="{D91B116F-02F4-4BAB-B67D-9B1F2004B489}"/>
                </a:ext>
              </a:extLst>
            </p:cNvPr>
            <p:cNvSpPr/>
            <p:nvPr/>
          </p:nvSpPr>
          <p:spPr bwMode="gray">
            <a:xfrm>
              <a:off x="1018319" y="2590472"/>
              <a:ext cx="2137718" cy="2137718"/>
            </a:xfrm>
            <a:prstGeom prst="ellipse">
              <a:avLst/>
            </a:prstGeom>
            <a:solidFill>
              <a:schemeClr val="accent2">
                <a:alpha val="8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buClr>
                  <a:srgbClr val="FFFFFF"/>
                </a:buClr>
              </a:pPr>
              <a:endParaRPr lang="en-US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="" xmlns:a16="http://schemas.microsoft.com/office/drawing/2014/main" id="{4D346711-7256-4030-9E74-28451C8F5731}"/>
                </a:ext>
              </a:extLst>
            </p:cNvPr>
            <p:cNvSpPr/>
            <p:nvPr/>
          </p:nvSpPr>
          <p:spPr>
            <a:xfrm>
              <a:off x="681954" y="2545974"/>
              <a:ext cx="2772249" cy="2226716"/>
            </a:xfrm>
            <a:prstGeom prst="ellipse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sz="4800" dirty="0">
                  <a:solidFill>
                    <a:schemeClr val="bg1"/>
                  </a:solidFill>
                  <a:latin typeface="+mj-lt"/>
                </a:rPr>
                <a:t>70+ </a:t>
              </a:r>
            </a:p>
            <a:p>
              <a:pPr algn="ctr"/>
              <a:r>
                <a:rPr lang="en-US" sz="1830" dirty="0">
                  <a:solidFill>
                    <a:schemeClr val="bg1"/>
                  </a:solidFill>
                  <a:latin typeface="+mj-lt"/>
                </a:rPr>
                <a:t>Personalization campaigns in 14 weeks </a:t>
              </a:r>
              <a:endParaRPr lang="en-US" sz="183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="" xmlns:a16="http://schemas.microsoft.com/office/drawing/2014/main" id="{195A1DBB-3E65-43C9-8A83-029AFB1995C0}"/>
              </a:ext>
            </a:extLst>
          </p:cNvPr>
          <p:cNvGrpSpPr/>
          <p:nvPr/>
        </p:nvGrpSpPr>
        <p:grpSpPr>
          <a:xfrm>
            <a:off x="6112137" y="3444835"/>
            <a:ext cx="558039" cy="3200876"/>
            <a:chOff x="7056554" y="3180675"/>
            <a:chExt cx="558039" cy="3200876"/>
          </a:xfrm>
        </p:grpSpPr>
        <p:cxnSp>
          <p:nvCxnSpPr>
            <p:cNvPr id="26" name="Straight Connector 25">
              <a:extLst>
                <a:ext uri="{FF2B5EF4-FFF2-40B4-BE49-F238E27FC236}">
                  <a16:creationId xmlns="" xmlns:a16="http://schemas.microsoft.com/office/drawing/2014/main" id="{EB68C6FF-B16B-4AF5-A21D-3BEEB4D0D126}"/>
                </a:ext>
              </a:extLst>
            </p:cNvPr>
            <p:cNvCxnSpPr>
              <a:cxnSpLocks/>
            </p:cNvCxnSpPr>
            <p:nvPr/>
          </p:nvCxnSpPr>
          <p:spPr>
            <a:xfrm>
              <a:off x="7335573" y="3180675"/>
              <a:ext cx="0" cy="3200876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4" name="Group 13">
              <a:extLst>
                <a:ext uri="{FF2B5EF4-FFF2-40B4-BE49-F238E27FC236}">
                  <a16:creationId xmlns="" xmlns:a16="http://schemas.microsoft.com/office/drawing/2014/main" id="{1356A694-5CE1-4573-A003-7FFB25D27B0A}"/>
                </a:ext>
              </a:extLst>
            </p:cNvPr>
            <p:cNvGrpSpPr/>
            <p:nvPr/>
          </p:nvGrpSpPr>
          <p:grpSpPr>
            <a:xfrm>
              <a:off x="7056554" y="4411781"/>
              <a:ext cx="558039" cy="738664"/>
              <a:chOff x="7764463" y="4101943"/>
              <a:chExt cx="558039" cy="738664"/>
            </a:xfrm>
          </p:grpSpPr>
          <p:sp>
            <p:nvSpPr>
              <p:cNvPr id="27" name="Oval 26">
                <a:extLst>
                  <a:ext uri="{FF2B5EF4-FFF2-40B4-BE49-F238E27FC236}">
                    <a16:creationId xmlns="" xmlns:a16="http://schemas.microsoft.com/office/drawing/2014/main" id="{B8F66310-BE46-4FD1-94C9-C993ED7450EF}"/>
                  </a:ext>
                </a:extLst>
              </p:cNvPr>
              <p:cNvSpPr/>
              <p:nvPr/>
            </p:nvSpPr>
            <p:spPr bwMode="gray">
              <a:xfrm>
                <a:off x="7764464" y="4192256"/>
                <a:ext cx="558038" cy="558038"/>
              </a:xfrm>
              <a:prstGeom prst="ellipse">
                <a:avLst/>
              </a:prstGeom>
              <a:solidFill>
                <a:srgbClr val="00B05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buClr>
                    <a:srgbClr val="FFFFFF"/>
                  </a:buClr>
                </a:pPr>
                <a:endParaRPr lang="en-US" sz="1200"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" name="Title 1">
                <a:extLst>
                  <a:ext uri="{FF2B5EF4-FFF2-40B4-BE49-F238E27FC236}">
                    <a16:creationId xmlns="" xmlns:a16="http://schemas.microsoft.com/office/drawing/2014/main" id="{4CD8BEA4-C96F-4F0F-A7EF-BAED1F1AE9EF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7764463" y="4101943"/>
                <a:ext cx="558039" cy="73866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2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defPPr>
                  <a:defRPr lang="en-US"/>
                </a:defPPr>
                <a:lvl1pPr defTabSz="895350" eaLnBrk="1" hangingPunct="1">
                  <a:tabLst>
                    <a:tab pos="269875" algn="l"/>
                  </a:tabLst>
                  <a:defRPr sz="2200" b="0" kern="0" baseline="0">
                    <a:solidFill>
                      <a:schemeClr val="accent3"/>
                    </a:solidFill>
                    <a:latin typeface="Georgia" panose="02040502050405020303" pitchFamily="18" charset="0"/>
                    <a:ea typeface="Gulim" panose="020B0600000101010101" pitchFamily="34" charset="-127"/>
                    <a:cs typeface="+mj-cs"/>
                  </a:defRPr>
                </a:lvl1pPr>
                <a:lvl2pPr defTabSz="895350" eaLnBrk="1" hangingPunct="1">
                  <a:defRPr sz="1900" b="1">
                    <a:solidFill>
                      <a:schemeClr val="tx2"/>
                    </a:solidFill>
                  </a:defRPr>
                </a:lvl2pPr>
                <a:lvl3pPr defTabSz="895350" eaLnBrk="1" hangingPunct="1">
                  <a:defRPr sz="1900" b="1">
                    <a:solidFill>
                      <a:schemeClr val="tx2"/>
                    </a:solidFill>
                  </a:defRPr>
                </a:lvl3pPr>
                <a:lvl4pPr defTabSz="895350" eaLnBrk="1" hangingPunct="1">
                  <a:defRPr sz="1900" b="1">
                    <a:solidFill>
                      <a:schemeClr val="tx2"/>
                    </a:solidFill>
                  </a:defRPr>
                </a:lvl4pPr>
                <a:lvl5pPr defTabSz="895350" eaLnBrk="1" hangingPunct="1">
                  <a:defRPr sz="1900" b="1">
                    <a:solidFill>
                      <a:schemeClr val="tx2"/>
                    </a:solidFill>
                  </a:defRPr>
                </a:lvl5pPr>
                <a:lvl6pPr marL="457200" defTabSz="895350" fontAlgn="base">
                  <a:spcBef>
                    <a:spcPct val="0"/>
                  </a:spcBef>
                  <a:spcAft>
                    <a:spcPct val="0"/>
                  </a:spcAft>
                  <a:defRPr sz="1900" b="1">
                    <a:solidFill>
                      <a:schemeClr val="tx2"/>
                    </a:solidFill>
                  </a:defRPr>
                </a:lvl6pPr>
                <a:lvl7pPr marL="914400" defTabSz="895350" fontAlgn="base">
                  <a:spcBef>
                    <a:spcPct val="0"/>
                  </a:spcBef>
                  <a:spcAft>
                    <a:spcPct val="0"/>
                  </a:spcAft>
                  <a:defRPr sz="1900" b="1">
                    <a:solidFill>
                      <a:schemeClr val="tx2"/>
                    </a:solidFill>
                  </a:defRPr>
                </a:lvl7pPr>
                <a:lvl8pPr marL="1371600" defTabSz="895350" fontAlgn="base">
                  <a:spcBef>
                    <a:spcPct val="0"/>
                  </a:spcBef>
                  <a:spcAft>
                    <a:spcPct val="0"/>
                  </a:spcAft>
                  <a:defRPr sz="1900" b="1">
                    <a:solidFill>
                      <a:schemeClr val="tx2"/>
                    </a:solidFill>
                  </a:defRPr>
                </a:lvl8pPr>
                <a:lvl9pPr marL="1828800" defTabSz="895350" fontAlgn="base">
                  <a:spcBef>
                    <a:spcPct val="0"/>
                  </a:spcBef>
                  <a:spcAft>
                    <a:spcPct val="0"/>
                  </a:spcAft>
                  <a:defRPr sz="1900" b="1">
                    <a:solidFill>
                      <a:schemeClr val="tx2"/>
                    </a:solidFill>
                  </a:defRPr>
                </a:lvl9pPr>
              </a:lstStyle>
              <a:p>
                <a:pPr algn="ctr"/>
                <a:r>
                  <a:rPr lang="en-US" sz="4800" dirty="0">
                    <a:solidFill>
                      <a:schemeClr val="bg1"/>
                    </a:solidFill>
                    <a:latin typeface="+mn-lt"/>
                  </a:rPr>
                  <a:t>+</a:t>
                </a:r>
              </a:p>
            </p:txBody>
          </p:sp>
        </p:grpSp>
      </p:grpSp>
      <p:sp>
        <p:nvSpPr>
          <p:cNvPr id="32" name="TextBox 31">
            <a:extLst>
              <a:ext uri="{FF2B5EF4-FFF2-40B4-BE49-F238E27FC236}">
                <a16:creationId xmlns="" xmlns:a16="http://schemas.microsoft.com/office/drawing/2014/main" id="{FCB7F43D-8D1D-4BF5-B36C-601227DCC7E2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091203" y="1114178"/>
            <a:ext cx="7784771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spcBef>
                <a:spcPct val="60000"/>
              </a:spcBef>
            </a:pPr>
            <a:r>
              <a:rPr lang="en-US" sz="1400" b="1" dirty="0">
                <a:solidFill>
                  <a:schemeClr val="accent4"/>
                </a:solidFill>
                <a:ea typeface="Gulim" panose="020B0503020000020004" pitchFamily="34" charset="-127"/>
                <a:cs typeface="+mj-cs"/>
              </a:rPr>
              <a:t>Starting poin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="" xmlns:a16="http://schemas.microsoft.com/office/drawing/2014/main" id="{B74F933B-C17F-4BD8-9820-47D4B5E1F60A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091203" y="1403110"/>
            <a:ext cx="7784771" cy="138037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ct val="30000"/>
              </a:spcBef>
            </a:pPr>
            <a:r>
              <a:rPr lang="en-US" sz="1300"/>
              <a:t>Top European </a:t>
            </a:r>
            <a:r>
              <a:rPr lang="en-US" sz="1300" dirty="0"/>
              <a:t>retailer in their specialty category</a:t>
            </a:r>
          </a:p>
          <a:p>
            <a:pPr lvl="1">
              <a:spcBef>
                <a:spcPct val="30000"/>
              </a:spcBef>
            </a:pPr>
            <a:r>
              <a:rPr lang="en-US" sz="1300" dirty="0"/>
              <a:t>Strong headwinds, e.g., softness in certain category sales, rising competitive pressures and mostly “one-off” frequency buyers, transactional relationship with customers i.e., high percentage of products sold on promotion</a:t>
            </a:r>
          </a:p>
          <a:p>
            <a:pPr lvl="1">
              <a:spcBef>
                <a:spcPct val="30000"/>
              </a:spcBef>
            </a:pPr>
            <a:r>
              <a:rPr lang="en-US" sz="1300" dirty="0"/>
              <a:t>Limited email personalization and programs ongoing for website optimization (but not personalization) </a:t>
            </a:r>
          </a:p>
          <a:p>
            <a:pPr lvl="1">
              <a:spcBef>
                <a:spcPct val="30000"/>
              </a:spcBef>
            </a:pPr>
            <a:r>
              <a:rPr lang="en-US" sz="1300" dirty="0"/>
              <a:t>Desire to partner with a proven leader to accelerate growth without upfront financial outlay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="" xmlns:a16="http://schemas.microsoft.com/office/drawing/2014/main" id="{C69E83A9-568C-456F-B0D9-293805A18B2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091203" y="3004712"/>
            <a:ext cx="6173655" cy="20005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spcBef>
                <a:spcPct val="60000"/>
              </a:spcBef>
            </a:pPr>
            <a:r>
              <a:rPr lang="en-US" sz="1300" b="1" dirty="0">
                <a:solidFill>
                  <a:schemeClr val="accent4"/>
                </a:solidFill>
                <a:ea typeface="Gulim" panose="020B0503020000020004" pitchFamily="34" charset="-127"/>
                <a:cs typeface="+mj-cs"/>
              </a:rPr>
              <a:t>How we supported the transformation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1615AD81-221F-4F47-AE57-B38BEBA67B5C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091203" y="3333153"/>
            <a:ext cx="2860738" cy="260071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300" b="1" dirty="0">
                <a:solidFill>
                  <a:schemeClr val="accent4"/>
                </a:solidFill>
                <a:ea typeface="Gulim" panose="020B0600000101010101" pitchFamily="34" charset="-127"/>
              </a:rPr>
              <a:t>Hands-on personalization program, with a focus on email, </a:t>
            </a:r>
            <a:r>
              <a:rPr lang="en-US" sz="1300" dirty="0">
                <a:ea typeface="Gulim" panose="020B0503020000020004" pitchFamily="34" charset="-127"/>
              </a:rPr>
              <a:t>to drive rapid growth</a:t>
            </a:r>
          </a:p>
          <a:p>
            <a:pPr lvl="1"/>
            <a:r>
              <a:rPr lang="en-US" sz="1300" b="1" dirty="0">
                <a:solidFill>
                  <a:schemeClr val="accent4"/>
                </a:solidFill>
                <a:ea typeface="Gulim" panose="020B0600000101010101" pitchFamily="34" charset="-127"/>
              </a:rPr>
              <a:t>Test launched across various personalization levers</a:t>
            </a:r>
            <a:r>
              <a:rPr lang="en-US" sz="1300" dirty="0">
                <a:ea typeface="Gulim" panose="020B0503020000020004" pitchFamily="34" charset="-127"/>
              </a:rPr>
              <a:t>, ranging from simple (e.g., copy, content) to complex (e.g., product recommendations, targeted discounting, triggers) and multiple micro-segments </a:t>
            </a:r>
          </a:p>
          <a:p>
            <a:pPr lvl="1"/>
            <a:r>
              <a:rPr lang="en-US" sz="1300" b="1" dirty="0">
                <a:solidFill>
                  <a:schemeClr val="accent4"/>
                </a:solidFill>
                <a:ea typeface="Gulim" panose="020B0600000101010101" pitchFamily="34" charset="-127"/>
              </a:rPr>
              <a:t>70+ campaigns launched </a:t>
            </a:r>
            <a:r>
              <a:rPr lang="en-US" sz="1300" dirty="0">
                <a:ea typeface="Gulim" panose="020B0600000101010101" pitchFamily="34" charset="-127"/>
              </a:rPr>
              <a:t>(covering 300+ emails; additional backlog of 150+ ideas) 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="" xmlns:a16="http://schemas.microsoft.com/office/drawing/2014/main" id="{C235B7B6-584E-4E0C-B8E6-B6AAA702EFE8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6830372" y="3333153"/>
            <a:ext cx="5029842" cy="320087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300" b="1" dirty="0">
                <a:solidFill>
                  <a:schemeClr val="accent4"/>
                </a:solidFill>
                <a:ea typeface="Gulim" panose="020B0600000101010101" pitchFamily="34" charset="-127"/>
              </a:rPr>
              <a:t>Transformed the operating model to sustain the impact</a:t>
            </a:r>
          </a:p>
          <a:p>
            <a:pPr lvl="2"/>
            <a:r>
              <a:rPr lang="en-US" sz="1300" b="1" dirty="0">
                <a:solidFill>
                  <a:schemeClr val="accent4"/>
                </a:solidFill>
                <a:ea typeface="Gulim" panose="020B0600000101010101" pitchFamily="34" charset="-127"/>
              </a:rPr>
              <a:t>Agile marketing muscle</a:t>
            </a:r>
            <a:r>
              <a:rPr lang="en-US" sz="1300" dirty="0">
                <a:ea typeface="Gulim" panose="020B0600000101010101" pitchFamily="34" charset="-127"/>
              </a:rPr>
              <a:t>: Set up agile </a:t>
            </a:r>
            <a:r>
              <a:rPr lang="en-US" sz="1300" dirty="0" err="1">
                <a:ea typeface="Gulim" panose="020B0600000101010101" pitchFamily="34" charset="-127"/>
              </a:rPr>
              <a:t>personalisation</a:t>
            </a:r>
            <a:r>
              <a:rPr lang="en-US" sz="1300" dirty="0">
                <a:ea typeface="Gulim" panose="020B0600000101010101" pitchFamily="34" charset="-127"/>
              </a:rPr>
              <a:t> war room (10 people squad team) with performance view and steering  </a:t>
            </a:r>
          </a:p>
          <a:p>
            <a:pPr lvl="2"/>
            <a:r>
              <a:rPr lang="en-US" sz="1300" dirty="0">
                <a:ea typeface="Gulim" panose="020B0600000101010101" pitchFamily="34" charset="-127"/>
              </a:rPr>
              <a:t>Build team capabilities (e.g., ideation, prioritization, sprint planning) and </a:t>
            </a:r>
            <a:r>
              <a:rPr lang="en-US" sz="1300" b="1" dirty="0">
                <a:solidFill>
                  <a:schemeClr val="accent4"/>
                </a:solidFill>
                <a:ea typeface="Gulim" panose="020B0600000101010101" pitchFamily="34" charset="-127"/>
              </a:rPr>
              <a:t>transformed the ways of working </a:t>
            </a:r>
            <a:r>
              <a:rPr lang="en-US" sz="1300" dirty="0">
                <a:ea typeface="Gulim" panose="020B0600000101010101" pitchFamily="34" charset="-127"/>
              </a:rPr>
              <a:t>from “follow the trading plan” to own the customer communication</a:t>
            </a:r>
          </a:p>
          <a:p>
            <a:pPr lvl="2"/>
            <a:r>
              <a:rPr lang="en-US" sz="1300" dirty="0">
                <a:ea typeface="Gulim" panose="020B0600000101010101" pitchFamily="34" charset="-127"/>
              </a:rPr>
              <a:t>Managed multiple partners and vendors e.g., Adobe, email vendor, design agency </a:t>
            </a:r>
          </a:p>
          <a:p>
            <a:pPr lvl="1"/>
            <a:r>
              <a:rPr lang="en-US" sz="1300" b="1" dirty="0">
                <a:solidFill>
                  <a:schemeClr val="accent4"/>
                </a:solidFill>
                <a:ea typeface="Gulim" panose="020B0600000101010101" pitchFamily="34" charset="-127"/>
              </a:rPr>
              <a:t>Built various assets for long-term foundations </a:t>
            </a:r>
          </a:p>
          <a:p>
            <a:pPr lvl="2"/>
            <a:r>
              <a:rPr lang="en-US" sz="1300" dirty="0">
                <a:ea typeface="Gulim" panose="020B0600000101010101" pitchFamily="34" charset="-127"/>
              </a:rPr>
              <a:t>Built 1:1 recommendation engine (unique for each customers) </a:t>
            </a:r>
          </a:p>
          <a:p>
            <a:pPr lvl="2"/>
            <a:r>
              <a:rPr lang="en-US" sz="1300" dirty="0">
                <a:ea typeface="Gulim" panose="020B0600000101010101" pitchFamily="34" charset="-127"/>
              </a:rPr>
              <a:t>Build pipes for data to flow between different various systems </a:t>
            </a:r>
          </a:p>
          <a:p>
            <a:pPr lvl="1"/>
            <a:r>
              <a:rPr lang="en-US" sz="1300" b="1" dirty="0">
                <a:solidFill>
                  <a:schemeClr val="accent4"/>
                </a:solidFill>
                <a:ea typeface="Gulim" panose="020B0600000101010101" pitchFamily="34" charset="-127"/>
              </a:rPr>
              <a:t>Developed a new approach to measurement</a:t>
            </a:r>
            <a:r>
              <a:rPr lang="en-US" sz="1300" dirty="0">
                <a:ea typeface="Gulim" panose="020B0600000101010101" pitchFamily="34" charset="-127"/>
              </a:rPr>
              <a:t>: tracked impact driven across channels (McKinsey rewarded largely through measured impact)</a:t>
            </a:r>
          </a:p>
        </p:txBody>
      </p:sp>
      <p:cxnSp>
        <p:nvCxnSpPr>
          <p:cNvPr id="37" name="AutoShape 249">
            <a:extLst>
              <a:ext uri="{FF2B5EF4-FFF2-40B4-BE49-F238E27FC236}">
                <a16:creationId xmlns="" xmlns:a16="http://schemas.microsoft.com/office/drawing/2014/main" id="{19A59843-2320-4417-B0A6-C08380316E0C}"/>
              </a:ext>
            </a:extLst>
          </p:cNvPr>
          <p:cNvCxnSpPr>
            <a:cxnSpLocks noChangeShapeType="1"/>
          </p:cNvCxnSpPr>
          <p:nvPr/>
        </p:nvCxnSpPr>
        <p:spPr bwMode="gray">
          <a:xfrm>
            <a:off x="4075443" y="1358268"/>
            <a:ext cx="7575208" cy="0"/>
          </a:xfrm>
          <a:prstGeom prst="straightConnector1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8" name="AutoShape 249">
            <a:extLst>
              <a:ext uri="{FF2B5EF4-FFF2-40B4-BE49-F238E27FC236}">
                <a16:creationId xmlns="" xmlns:a16="http://schemas.microsoft.com/office/drawing/2014/main" id="{327EAB51-AB88-4F08-9DAA-5D3732421A99}"/>
              </a:ext>
            </a:extLst>
          </p:cNvPr>
          <p:cNvCxnSpPr>
            <a:cxnSpLocks noChangeShapeType="1"/>
          </p:cNvCxnSpPr>
          <p:nvPr/>
        </p:nvCxnSpPr>
        <p:spPr bwMode="gray">
          <a:xfrm>
            <a:off x="4075443" y="3249785"/>
            <a:ext cx="7575208" cy="0"/>
          </a:xfrm>
          <a:prstGeom prst="straightConnector1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EBDA4747-B5B7-4474-9FD5-FD4E39D1851E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306489" y="-5934"/>
            <a:ext cx="666524" cy="15875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  <a:extLst/>
        </p:spPr>
        <p:txBody>
          <a:bodyPr wrap="none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pl-PL" sz="1000" dirty="0">
                <a:solidFill>
                  <a:schemeClr val="bg1"/>
                </a:solidFill>
              </a:rPr>
              <a:t>RET067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xmlns="" id="{8592D1BD-BE79-4797-8101-83A2FB136E5F}"/>
              </a:ext>
            </a:extLst>
          </p:cNvPr>
          <p:cNvSpPr>
            <a:spLocks noChangeArrowheads="1"/>
          </p:cNvSpPr>
          <p:nvPr/>
        </p:nvSpPr>
        <p:spPr bwMode="gray">
          <a:xfrm>
            <a:off x="0" y="17327"/>
            <a:ext cx="2348564" cy="156923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  <a:extLst/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pl-PL" sz="1000" dirty="0">
                <a:solidFill>
                  <a:schemeClr val="bg1"/>
                </a:solidFill>
              </a:rPr>
              <a:t>CONSUMER (RETAIL)|  EUROPE</a:t>
            </a:r>
            <a:endParaRPr lang="en-US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2244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PREVIOUSNAME" val="C:\Users\Anuradha Sarin\AppData\Local\Microsoft\Windows\INetCache\Content.Outlook\6JAY4FKH\20181122_PBX email personalization case study_vf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Cu3dP7TOC4Ae9Tduwf7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6"/>
  <p:tag name="2LEVEL" val="0.3"/>
  <p:tag name="3LEVEL" val="0.15"/>
  <p:tag name="4LEVEL" val="0.08"/>
  <p:tag name="5LEVEL" val="0.0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6"/>
  <p:tag name="2LEVEL" val="0.3"/>
  <p:tag name="3LEVEL" val="0.15"/>
  <p:tag name="4LEVEL" val="0.08"/>
  <p:tag name="5LEVEL" val="0.0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6"/>
  <p:tag name="2LEVEL" val="0.3"/>
  <p:tag name="3LEVEL" val="0.15"/>
  <p:tag name="4LEVEL" val="0.08"/>
  <p:tag name="5LEVEL" val="0.0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6"/>
  <p:tag name="2LEVEL" val="0.3"/>
  <p:tag name="3LEVEL" val="0.15"/>
  <p:tag name="4LEVEL" val="0.08"/>
  <p:tag name="5LEVEL" val="0.0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6"/>
  <p:tag name="2LEVEL" val="0.3"/>
  <p:tag name="3LEVEL" val="0.15"/>
  <p:tag name="4LEVEL" val="0.08"/>
  <p:tag name="5LEVEL" val="0.0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heme/theme1.xml><?xml version="1.0" encoding="utf-8"?>
<a:theme xmlns:a="http://schemas.openxmlformats.org/drawingml/2006/main" name="Firm Format - template_Blue">
  <a:themeElements>
    <a:clrScheme name="McKinsey Cyan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CBAAA8DA-AFC5-4F8A-BF34-733F303E9EE7}" vid="{C83A2FBA-1D83-4DE4-A7E3-439E0B148B18}"/>
    </a:ext>
  </a:extLst>
</a:theme>
</file>

<file path=ppt/theme/theme2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3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</TotalTime>
  <Words>293</Words>
  <Application>Microsoft Macintosh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Gulim</vt:lpstr>
      <vt:lpstr>Arial</vt:lpstr>
      <vt:lpstr>Firm Format - template_Blue</vt:lpstr>
      <vt:lpstr>M&amp;S Theme</vt:lpstr>
      <vt:lpstr>Firm Format - template_Grey</vt:lpstr>
      <vt:lpstr>think-cell Slide</vt:lpstr>
      <vt:lpstr>Impact example: Personalization for a pure play specialty retailer</vt:lpstr>
    </vt:vector>
  </TitlesOfParts>
  <LinksUpToDate>false</LinksUpToDate>
  <SharedDoc>false</SharedDoc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act example: Personalization for a pure play specialty retailer</dc:title>
  <dc:creator>Boris Toma</dc:creator>
  <cp:lastModifiedBy>Petra Vincent</cp:lastModifiedBy>
  <cp:revision>5</cp:revision>
  <dcterms:created xsi:type="dcterms:W3CDTF">2019-01-24T12:03:26Z</dcterms:created>
  <dcterms:modified xsi:type="dcterms:W3CDTF">2019-05-01T23:03:36Z</dcterms:modified>
</cp:coreProperties>
</file>